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4.xml" ContentType="application/vnd.openxmlformats-officedocument.theme+xml"/>
  <Override PartName="/ppt/tags/tag105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5.xml" ContentType="application/vnd.openxmlformats-officedocument.theme+xml"/>
  <Override PartName="/ppt/tags/tag10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0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62" r:id="rId5"/>
    <p:sldMasterId id="2147483815" r:id="rId6"/>
    <p:sldMasterId id="2147483868" r:id="rId7"/>
    <p:sldMasterId id="2147483917" r:id="rId8"/>
  </p:sldMasterIdLst>
  <p:notesMasterIdLst>
    <p:notesMasterId r:id="rId10"/>
  </p:notesMasterIdLst>
  <p:handoutMasterIdLst>
    <p:handoutMasterId r:id="rId11"/>
  </p:handoutMasterIdLst>
  <p:sldIdLst>
    <p:sldId id="2147475510" r:id="rId9"/>
  </p:sldIdLst>
  <p:sldSz cx="12192000" cy="6858000"/>
  <p:notesSz cx="6858000" cy="9144000"/>
  <p:embeddedFontLst>
    <p:embeddedFont>
      <p:font typeface="MetricHPE" panose="020B0503030202060203" pitchFamily="34" charset="0"/>
      <p:regular r:id="rId12"/>
      <p:bold r:id="rId13"/>
      <p:italic r:id="rId14"/>
      <p:boldItalic r:id="rId15"/>
    </p:embeddedFont>
    <p:embeddedFont>
      <p:font typeface="MetricHPE Light" panose="020B0303030202060203" pitchFamily="34" charset="0"/>
      <p:regular r:id="rId16"/>
      <p:italic r:id="rId17"/>
    </p:embeddedFont>
  </p:embeddedFont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ext-generation compute" id="{7E00F668-8977-DE4A-8897-70A634BF6E1E}">
          <p14:sldIdLst>
            <p14:sldId id="21474755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4" orient="horz" pos="3840" userDrawn="1">
          <p15:clr>
            <a:srgbClr val="A4A3A4"/>
          </p15:clr>
        </p15:guide>
        <p15:guide id="5" pos="3864" userDrawn="1">
          <p15:clr>
            <a:srgbClr val="A4A3A4"/>
          </p15:clr>
        </p15:guide>
        <p15:guide id="7" pos="7287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Seo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dk1"/>
            </a:lnRef>
          </a:top>
          <a:bottom>
            <a:lnRef idx="1">
              <a:schemeClr val="dk1"/>
            </a:lnRef>
          </a:bottom>
        </a:tcBdr>
      </a:tcStyle>
    </a:band1H>
    <a:band1V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1V>
    <a:band2V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Ref idx="1">
          <a:schemeClr val="dk1">
            <a:tint val="80000"/>
          </a:schemeClr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410" autoAdjust="0"/>
    <p:restoredTop sz="92469" autoAdjust="0"/>
  </p:normalViewPr>
  <p:slideViewPr>
    <p:cSldViewPr snapToGrid="0">
      <p:cViewPr varScale="1">
        <p:scale>
          <a:sx n="116" d="100"/>
          <a:sy n="116" d="100"/>
        </p:scale>
        <p:origin x="834" y="42"/>
      </p:cViewPr>
      <p:guideLst>
        <p:guide orient="horz" pos="2183"/>
        <p:guide orient="horz" pos="3840"/>
        <p:guide pos="3864"/>
        <p:guide pos="7287"/>
        <p:guide orient="horz" pos="958"/>
        <p:guide orient="horz" pos="10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2824"/>
    </p:cViewPr>
  </p:sorterViewPr>
  <p:notesViewPr>
    <p:cSldViewPr snapToGrid="0">
      <p:cViewPr varScale="1">
        <p:scale>
          <a:sx n="87" d="100"/>
          <a:sy n="87" d="100"/>
        </p:scale>
        <p:origin x="3276" y="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4.fntdata"/><Relationship Id="rId23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font" Target="fonts/font3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dirty="0">
              <a:latin typeface="MetricHPE" panose="020B0503030202060203" pitchFamily="34" charset="-18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>
                <a:latin typeface="MetricHPE" panose="020B0503030202060203" pitchFamily="34" charset="-18"/>
              </a:rPr>
              <a:t>6/15/2023</a:t>
            </a:fld>
            <a:endParaRPr dirty="0">
              <a:latin typeface="MetricHPE" panose="020B0503030202060203" pitchFamily="34" charset="-1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dirty="0">
              <a:latin typeface="MetricHPE" panose="020B0503030202060203" pitchFamily="34" charset="-1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>
                <a:latin typeface="MetricHPE" panose="020B0503030202060203" pitchFamily="34" charset="-18"/>
              </a:rPr>
              <a:t>‹#›</a:t>
            </a:fld>
            <a:endParaRPr dirty="0"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MetricHPE" panose="020B0503030202060203" pitchFamily="34" charset="-18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MetricHPE" panose="020B0503030202060203" pitchFamily="34" charset="-18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1ABBFA18-F005-4413-AD3D-C41E73AAEA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" panose="020B0303030202060203" pitchFamily="34" charset="0"/>
      <a:buChar char=" "/>
      <a:defRPr sz="11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5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9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8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jpeg"/></Relationships>
</file>

<file path=ppt/slideLayouts/_rels/slideLayout10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5D4E938B-64FA-52E2-E61B-E9D57C49069D}"/>
              </a:ext>
            </a:extLst>
          </p:cNvPr>
          <p:cNvSpPr txBox="1">
            <a:spLocks/>
          </p:cNvSpPr>
          <p:nvPr userDrawn="1"/>
        </p:nvSpPr>
        <p:spPr>
          <a:xfrm>
            <a:off x="290747" y="6246577"/>
            <a:ext cx="2819036" cy="368718"/>
          </a:xfrm>
          <a:prstGeom prst="rect">
            <a:avLst/>
          </a:prstGeom>
        </p:spPr>
        <p:txBody>
          <a:bodyPr vert="horz" lIns="90000" tIns="0" rIns="9000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20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0" i="0" cap="none" dirty="0">
                <a:solidFill>
                  <a:schemeClr val="bg1"/>
                </a:solidFill>
                <a:latin typeface="MetricHPE Light" panose="020B0303030202060203" pitchFamily="34" charset="77"/>
              </a:rPr>
              <a:t>#</a:t>
            </a:r>
            <a:r>
              <a:rPr lang="en-US" sz="1800" b="0" i="0" cap="none" dirty="0" err="1">
                <a:solidFill>
                  <a:schemeClr val="bg1"/>
                </a:solidFill>
                <a:latin typeface="MetricHPE Light" panose="020B0303030202060203" pitchFamily="34" charset="77"/>
              </a:rPr>
              <a:t>HPEDiscover</a:t>
            </a:r>
            <a:endParaRPr lang="en-US" sz="1800" b="0" i="0" cap="none" dirty="0">
              <a:solidFill>
                <a:schemeClr val="bg1"/>
              </a:solidFill>
              <a:latin typeface="MetricHPE Light" panose="020B0303030202060203" pitchFamily="34" charset="77"/>
            </a:endParaRPr>
          </a:p>
        </p:txBody>
      </p:sp>
      <p:sp>
        <p:nvSpPr>
          <p:cNvPr id="4" name="Element">
            <a:extLst>
              <a:ext uri="{FF2B5EF4-FFF2-40B4-BE49-F238E27FC236}">
                <a16:creationId xmlns:a16="http://schemas.microsoft.com/office/drawing/2014/main" id="{1DBB7E2A-AFAB-D9A2-34D8-9208036814CB}"/>
              </a:ext>
            </a:extLst>
          </p:cNvPr>
          <p:cNvSpPr>
            <a:spLocks noChangeAspect="1"/>
          </p:cNvSpPr>
          <p:nvPr userDrawn="1"/>
        </p:nvSpPr>
        <p:spPr>
          <a:xfrm>
            <a:off x="10859489" y="376316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C55682-BA0C-1CD4-FE95-41EBD9B5B9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000" y="382299"/>
            <a:ext cx="1384300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B7ECD1-28B3-4BA7-973D-0A7E0F83D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672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B7ECD1-28B3-4BA7-973D-0A7E0F83D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806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E37FB-2559-4238-B53D-42D9783F1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328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EE37FB-2559-4238-B53D-42D9783F1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684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B5762A-4274-4E72-8697-194676340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64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B5762A-4274-4E72-8697-194676340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8041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4"/>
          <a:stretch/>
        </p:blipFill>
        <p:spPr>
          <a:xfrm rot="10800000"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4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3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4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7812819-CA2A-86DB-F409-AEBB6E2B5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762291-CB1E-7B51-C067-56BAFAF5AF6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797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C04344E-4574-D4DC-B4CE-461D9825B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8" r="6041" b="3218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70F999-153D-32BE-F149-04E8439A73B5}"/>
              </a:ext>
            </a:extLst>
          </p:cNvPr>
          <p:cNvSpPr/>
          <p:nvPr userDrawn="1"/>
        </p:nvSpPr>
        <p:spPr bwMode="ltGray">
          <a:xfrm>
            <a:off x="186016" y="214965"/>
            <a:ext cx="11823104" cy="6460155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lumMod val="75000"/>
                  <a:alpha val="30000"/>
                </a:schemeClr>
              </a:gs>
            </a:gsLst>
            <a:lin ang="5400000" scaled="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27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8E28B06-D33C-C1D0-34E6-07633E4EF47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59DA114F-379B-6AB0-E63E-EDE7F1D545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grayscl/>
            <a:alphaModFix amt="16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40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ADFB8-684F-4AA1-AD45-AA1B75078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075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4ADFB8-684F-4AA1-AD45-AA1B75078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vert="horz" lIns="91440" tIns="91440" rIns="91440" bIns="91440" anchor="t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0039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7A7E5E-CA69-406E-83FA-41141E488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08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7A7E5E-CA69-406E-83FA-41141E488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vert="horz"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37848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48FEA9-0B6B-4F10-9B08-876CB7184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89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48FEA9-0B6B-4F10-9B08-876CB7184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7494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91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A4730-05E9-413E-A59C-914E0C366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173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EA4730-05E9-413E-A59C-914E0C366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2368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74272F-602D-4192-BC54-B2645BC73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13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74272F-602D-4192-BC54-B2645BC73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6183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849DD0-CD9F-43B4-BC22-9490F93AC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2761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849DD0-CD9F-43B4-BC22-9490F93AC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8364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C4D275-D9D2-4194-9F32-64D652B00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8693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C4D275-D9D2-4194-9F32-64D652B00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3224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457EDA-0A28-4849-BD37-266565E6D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617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457EDA-0A28-4849-BD37-266565E6D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vert="horz"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6637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B08AFA-0746-4D41-942A-DD08BF385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79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B08AFA-0746-4D41-942A-DD08BF385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198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5E8DFD-A232-4615-95C8-3553E04E8D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1650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5E8DFD-A232-4615-95C8-3553E04E8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027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1DAC38-CABC-40E4-BF53-10DB44E26F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206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1DAC38-CABC-40E4-BF53-10DB44E26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4909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CCBAEC-80EE-4CF5-8E38-137E1601D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798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CCBAEC-80EE-4CF5-8E38-137E1601D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15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FECCF4-5B08-4D07-983D-6DCE5C985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1378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FECCF4-5B08-4D07-983D-6DCE5C985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2388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CC6A5-EED9-4BE6-9BB2-1B5B2BA3A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225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3CC6A5-EED9-4BE6-9BB2-1B5B2BA3A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713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ACB20F-6AB9-4717-9714-122FD81AD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5113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ACB20F-6AB9-4717-9714-122FD81AD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90323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9A4C04-A3EA-46DA-BB45-CDB216DA3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085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9A4C04-A3EA-46DA-BB45-CDB216DA3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1211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F3F2B0-772A-445A-8335-AA9D2FA1E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45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F3F2B0-772A-445A-8335-AA9D2FA1E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0673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416F85-2B34-4AE4-95D6-BF9CFB412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8337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416F85-2B34-4AE4-95D6-BF9CFB412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6051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1B370A-5B7E-451E-A6E7-C98EEEED5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226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1B370A-5B7E-451E-A6E7-C98EEEED5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9750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AF6AB5-2EAF-44EB-8180-4EBE0A12E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32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AF6AB5-2EAF-44EB-8180-4EBE0A12E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4756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D9B7F5-5935-49D2-BFB9-4DD1D6CF0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19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D9B7F5-5935-49D2-BFB9-4DD1D6CF0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415DDE-BCB7-402A-83EE-E821146D7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814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1415DDE-BCB7-402A-83EE-E821146D7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41810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8E36D-1791-497B-8B45-6161FB44E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662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48E36D-1791-497B-8B45-6161FB44ED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5189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9774FC-F55C-4DFC-ADB6-18E420907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440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79774FC-F55C-4DFC-ADB6-18E420907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3611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7FB032-5C39-4FF8-8FE8-B730EC7CC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655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7FB032-5C39-4FF8-8FE8-B730EC7CC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1740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E0B40D-5357-45FF-9FB8-FCEFDD888C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419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E0B40D-5357-45FF-9FB8-FCEFDD888C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9029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460974-2E49-479B-8B56-14195E778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0828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460974-2E49-479B-8B56-14195E77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123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A375B-118A-4C0B-A008-CE8167BAE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6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8A375B-118A-4C0B-A008-CE8167BAE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5711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C563F0-C3B9-4B28-9B1C-8DD505A07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444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C563F0-C3B9-4B28-9B1C-8DD505A0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6683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C7905-C50D-4479-A459-3E98126B5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486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0C7905-C50D-4479-A459-3E98126B5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3755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107DCD-8E78-467B-8556-CF6A8FC3D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5758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107DCD-8E78-467B-8556-CF6A8FC3D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4561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6DD28D-6BE5-4E79-90A1-9269E81D4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596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6DD28D-6BE5-4E79-90A1-9269E81D4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0686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477547-A011-41BB-9219-72EBC5149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577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477547-A011-41BB-9219-72EBC5149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5483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F710E9-8B82-475E-9524-D1FFCB009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224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F710E9-8B82-475E-9524-D1FFCB009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1594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F2FAA-5188-48CD-88F5-10F71041E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238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F2FAA-5188-48CD-88F5-10F71041E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2121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3A1EFD-C471-4A96-AF59-4EDB28B8A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4321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3A1EFD-C471-4A96-AF59-4EDB28B8A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62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5DE491-3AC8-4C49-9804-56C0A4B89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946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5DE491-3AC8-4C49-9804-56C0A4B89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0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8A5BEE-2D34-4035-A7FB-F52BD3CB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0631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8A5BEE-2D34-4035-A7FB-F52BD3CB2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3486647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AB4387-3D65-460C-BCA2-B34BAA379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139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AB4387-3D65-460C-BCA2-B34BAA379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984925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697E9B-698E-4136-A99A-FAAA557BF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400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697E9B-698E-4136-A99A-FAAA557BF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167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695718-0EA1-43B9-8E13-34C7A693D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670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695718-0EA1-43B9-8E13-34C7A693D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208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9D982-4BA2-4C28-A5DF-8AADBD9B5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5676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E9D982-4BA2-4C28-A5DF-8AADBD9B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b="0" i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© </a:t>
            </a:r>
            <a:fld id="{DA3777BF-A1C6-4F92-A9EA-7320C98A4638}" type="datetimeyyyy">
              <a:rPr lang="en-US" sz="1200" b="0" i="0" smtClean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pPr algn="r"/>
              <a:t>2023</a:t>
            </a:fld>
            <a:r>
              <a:rPr lang="en-US" sz="1200" b="0" i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27178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339F5-46CF-4FB8-B687-A3B0B2A0B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817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339F5-46CF-4FB8-B687-A3B0B2A0B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743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1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761644-9DA3-39EE-2F12-1812A88F0F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1000"/>
          </a:blip>
          <a:stretch>
            <a:fillRect/>
          </a:stretch>
        </p:blipFill>
        <p:spPr>
          <a:xfrm>
            <a:off x="0" y="0"/>
            <a:ext cx="12192000" cy="687500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F1482F-8639-47A2-A14A-A0564FE1E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857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F1482F-8639-47A2-A14A-A0564FE1E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890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113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9757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221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5382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82658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256368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6940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66138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5731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18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3003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3741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5943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344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6432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206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9930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5177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7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4116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30575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66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1698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5946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8065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="0" i="0" baseline="0" dirty="0">
                <a:latin typeface="MetricHPE Light" panose="020B0303030202060203" pitchFamily="34" charset="77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244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5171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="0" i="0" baseline="0" dirty="0">
                <a:latin typeface="MetricHPE Light" panose="020B0303030202060203" pitchFamily="34" charset="77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7488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10672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7979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81262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7142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76566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2498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0126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8179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7114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7770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7415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1245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8124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6367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379125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19948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234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350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b="0" i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b="0" i="0" smtClean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3</a:t>
            </a:fld>
            <a:r>
              <a:rPr lang="en-US" sz="1200" b="0" i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411067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14023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197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5D4E938B-64FA-52E2-E61B-E9D57C49069D}"/>
              </a:ext>
            </a:extLst>
          </p:cNvPr>
          <p:cNvSpPr txBox="1">
            <a:spLocks/>
          </p:cNvSpPr>
          <p:nvPr userDrawn="1"/>
        </p:nvSpPr>
        <p:spPr>
          <a:xfrm>
            <a:off x="290747" y="6246577"/>
            <a:ext cx="2819036" cy="368718"/>
          </a:xfrm>
          <a:prstGeom prst="rect">
            <a:avLst/>
          </a:prstGeom>
        </p:spPr>
        <p:txBody>
          <a:bodyPr vert="horz" lIns="90000" tIns="0" rIns="9000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20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0" i="0" cap="none" dirty="0">
                <a:solidFill>
                  <a:schemeClr val="bg1"/>
                </a:solidFill>
                <a:latin typeface="MetricHPE Light" panose="020B0303030202060203" pitchFamily="34" charset="77"/>
              </a:rPr>
              <a:t>#</a:t>
            </a:r>
            <a:r>
              <a:rPr lang="en-US" sz="1800" b="0" i="0" cap="none" dirty="0" err="1">
                <a:solidFill>
                  <a:schemeClr val="bg1"/>
                </a:solidFill>
                <a:latin typeface="MetricHPE Light" panose="020B0303030202060203" pitchFamily="34" charset="77"/>
              </a:rPr>
              <a:t>HPEDiscover</a:t>
            </a:r>
            <a:endParaRPr lang="en-US" sz="1800" b="0" i="0" cap="none" dirty="0">
              <a:solidFill>
                <a:schemeClr val="bg1"/>
              </a:solidFill>
              <a:latin typeface="MetricHPE Light" panose="020B0303030202060203" pitchFamily="34" charset="77"/>
            </a:endParaRPr>
          </a:p>
        </p:txBody>
      </p:sp>
      <p:sp>
        <p:nvSpPr>
          <p:cNvPr id="4" name="Element">
            <a:extLst>
              <a:ext uri="{FF2B5EF4-FFF2-40B4-BE49-F238E27FC236}">
                <a16:creationId xmlns:a16="http://schemas.microsoft.com/office/drawing/2014/main" id="{1DBB7E2A-AFAB-D9A2-34D8-9208036814CB}"/>
              </a:ext>
            </a:extLst>
          </p:cNvPr>
          <p:cNvSpPr>
            <a:spLocks noChangeAspect="1"/>
          </p:cNvSpPr>
          <p:nvPr userDrawn="1"/>
        </p:nvSpPr>
        <p:spPr>
          <a:xfrm>
            <a:off x="10859489" y="376316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C55682-BA0C-1CD4-FE95-41EBD9B5B9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1000" y="382299"/>
            <a:ext cx="1384300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46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40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6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7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279519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50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45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374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11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6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41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877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20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92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47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40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33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0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4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10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844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300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949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10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86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58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79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36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19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97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672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41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70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3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723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42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390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69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953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6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386990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/>
              <a:t>Multiple </a:t>
            </a:r>
            <a:br>
              <a:rPr lang="en-US" dirty="0"/>
            </a:br>
            <a:r>
              <a:rPr lang="en-US" dirty="0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284017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69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57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3</a:t>
            </a:fld>
            <a:r>
              <a:rPr lang="en-US" sz="1200" dirty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146979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90245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1011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47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33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92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183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917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291923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1607677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/>
              <a:t>Multiple </a:t>
            </a:r>
            <a:br>
              <a:rPr lang="en-US" dirty="0"/>
            </a:br>
            <a:r>
              <a:rPr lang="en-US" dirty="0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4239520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44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14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3</a:t>
            </a:fld>
            <a:r>
              <a:rPr lang="en-US" sz="1200" dirty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7456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 dirty="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99548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 dirty="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42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190A53-9E41-43E6-BB9D-7DA618C34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5991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190A53-9E41-43E6-BB9D-7DA618C3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657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B7ECD1-28B3-4BA7-973D-0A7E0F83D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3166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B7ECD1-28B3-4BA7-973D-0A7E0F83D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76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E37FB-2559-4238-B53D-42D9783F1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851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EE37FB-2559-4238-B53D-42D9783F1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4434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B5762A-4274-4E72-8697-194676340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135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B5762A-4274-4E72-8697-194676340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5344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D72003-BB4C-4D9E-A097-44D6B516D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480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D72003-BB4C-4D9E-A097-44D6B516D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4"/>
          <a:stretch/>
        </p:blipFill>
        <p:spPr>
          <a:xfrm rot="10800000"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56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21A807-B1A0-41B7-93F6-C1812265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3700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721A807-B1A0-41B7-93F6-C1812265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3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30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04C283-1C62-4BBA-A54A-179C215B3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818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F04C283-1C62-4BBA-A54A-179C215B3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7812819-CA2A-86DB-F409-AEBB6E2B5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762291-CB1E-7B51-C067-56BAFAF5AF6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797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C04344E-4574-D4DC-B4CE-461D9825B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8" r="6041" b="3218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70F999-153D-32BE-F149-04E8439A73B5}"/>
              </a:ext>
            </a:extLst>
          </p:cNvPr>
          <p:cNvSpPr/>
          <p:nvPr userDrawn="1"/>
        </p:nvSpPr>
        <p:spPr bwMode="ltGray">
          <a:xfrm>
            <a:off x="186016" y="214965"/>
            <a:ext cx="11823104" cy="6460155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lumMod val="75000"/>
                  <a:alpha val="30000"/>
                </a:schemeClr>
              </a:gs>
            </a:gsLst>
            <a:lin ang="5400000" scaled="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541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8A2CF2-3910-4E79-8F2C-B6F0F51C1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549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8A2CF2-3910-4E79-8F2C-B6F0F51C1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8E28B06-D33C-C1D0-34E6-07633E4EF47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59DA114F-379B-6AB0-E63E-EDE7F1D545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grayscl/>
            <a:alphaModFix amt="16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5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ADFB8-684F-4AA1-AD45-AA1B75078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99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4ADFB8-684F-4AA1-AD45-AA1B75078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vert="horz" lIns="91440" tIns="91440" rIns="91440" bIns="91440" anchor="t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318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7A7E5E-CA69-406E-83FA-41141E488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347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7A7E5E-CA69-406E-83FA-41141E488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vert="horz"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178936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48FEA9-0B6B-4F10-9B08-876CB7184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637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48FEA9-0B6B-4F10-9B08-876CB7184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108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A4730-05E9-413E-A59C-914E0C366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42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EA4730-05E9-413E-A59C-914E0C366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6079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74272F-602D-4192-BC54-B2645BC73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08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74272F-602D-4192-BC54-B2645BC73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1312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849DD0-CD9F-43B4-BC22-9490F93AC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795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849DD0-CD9F-43B4-BC22-9490F93AC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3201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C4D275-D9D2-4194-9F32-64D652B00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101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C4D275-D9D2-4194-9F32-64D652B00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7741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457EDA-0A28-4849-BD37-266565E6D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34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457EDA-0A28-4849-BD37-266565E6D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vert="horz"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3416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B08AFA-0746-4D41-942A-DD08BF385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6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B08AFA-0746-4D41-942A-DD08BF385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184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5E8DFD-A232-4615-95C8-3553E04E8D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6545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5E8DFD-A232-4615-95C8-3553E04E8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4375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1DAC38-CABC-40E4-BF53-10DB44E26F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4531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1DAC38-CABC-40E4-BF53-10DB44E26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39163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CCBAEC-80EE-4CF5-8E38-137E1601D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736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CCBAEC-80EE-4CF5-8E38-137E1601D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0657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FECCF4-5B08-4D07-983D-6DCE5C985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64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FECCF4-5B08-4D07-983D-6DCE5C985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4110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CC6A5-EED9-4BE6-9BB2-1B5B2BA3A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3842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3CC6A5-EED9-4BE6-9BB2-1B5B2BA3A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4290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ACB20F-6AB9-4717-9714-122FD81AD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5554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ACB20F-6AB9-4717-9714-122FD81AD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50450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9A4C04-A3EA-46DA-BB45-CDB216DA3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696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9A4C04-A3EA-46DA-BB45-CDB216DA3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1637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F3F2B0-772A-445A-8335-AA9D2FA1E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10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F3F2B0-772A-445A-8335-AA9D2FA1E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47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416F85-2B34-4AE4-95D6-BF9CFB412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810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416F85-2B34-4AE4-95D6-BF9CFB412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6484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1B370A-5B7E-451E-A6E7-C98EEEED5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876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1B370A-5B7E-451E-A6E7-C98EEEED5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8060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AF6AB5-2EAF-44EB-8180-4EBE0A12E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441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AF6AB5-2EAF-44EB-8180-4EBE0A12E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4844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D9B7F5-5935-49D2-BFB9-4DD1D6CF0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971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D9B7F5-5935-49D2-BFB9-4DD1D6CF0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54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415DDE-BCB7-402A-83EE-E821146D7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76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1415DDE-BCB7-402A-83EE-E821146D7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7732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8E36D-1791-497B-8B45-6161FB44E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299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48E36D-1791-497B-8B45-6161FB44ED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6845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9774FC-F55C-4DFC-ADB6-18E420907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928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79774FC-F55C-4DFC-ADB6-18E420907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844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7FB032-5C39-4FF8-8FE8-B730EC7CC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6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7FB032-5C39-4FF8-8FE8-B730EC7CC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4819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E0B40D-5357-45FF-9FB8-FCEFDD888C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157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E0B40D-5357-45FF-9FB8-FCEFDD888C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2442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460974-2E49-479B-8B56-14195E778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379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460974-2E49-479B-8B56-14195E77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5525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A375B-118A-4C0B-A008-CE8167BAE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635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8A375B-118A-4C0B-A008-CE8167BAE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8616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C563F0-C3B9-4B28-9B1C-8DD505A07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56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C563F0-C3B9-4B28-9B1C-8DD505A0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0207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C7905-C50D-4479-A459-3E98126B5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1097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0C7905-C50D-4479-A459-3E98126B5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2490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107DCD-8E78-467B-8556-CF6A8FC3D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76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107DCD-8E78-467B-8556-CF6A8FC3D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32053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6DD28D-6BE5-4E79-90A1-9269E81D4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9735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6DD28D-6BE5-4E79-90A1-9269E81D4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1251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477547-A011-41BB-9219-72EBC5149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331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477547-A011-41BB-9219-72EBC5149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0801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F710E9-8B82-475E-9524-D1FFCB009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64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F710E9-8B82-475E-9524-D1FFCB009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8274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F2FAA-5188-48CD-88F5-10F71041E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4856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F2FAA-5188-48CD-88F5-10F71041E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024847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3A1EFD-C471-4A96-AF59-4EDB28B8A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6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3A1EFD-C471-4A96-AF59-4EDB28B8A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161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5DE491-3AC8-4C49-9804-56C0A4B89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90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5DE491-3AC8-4C49-9804-56C0A4B89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2925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8A5BEE-2D34-4035-A7FB-F52BD3CB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317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8A5BEE-2D34-4035-A7FB-F52BD3CB2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4691616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AB4387-3D65-460C-BCA2-B34BAA379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8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AB4387-3D65-460C-BCA2-B34BAA379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4038029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697E9B-698E-4136-A99A-FAAA557BF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7834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697E9B-698E-4136-A99A-FAAA557BF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673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695718-0EA1-43B9-8E13-34C7A693D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233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695718-0EA1-43B9-8E13-34C7A693D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592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9D982-4BA2-4C28-A5DF-8AADBD9B5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3920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E9D982-4BA2-4C28-A5DF-8AADBD9B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b="0" i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© </a:t>
            </a:r>
            <a:fld id="{DA3777BF-A1C6-4F92-A9EA-7320C98A4638}" type="datetimeyyyy">
              <a:rPr lang="en-US" sz="1200" b="0" i="0" smtClean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pPr algn="r"/>
              <a:t>2023</a:t>
            </a:fld>
            <a:r>
              <a:rPr lang="en-US" sz="1200" b="0" i="0">
                <a:effectLst/>
                <a:latin typeface="MetricHPE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53496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339F5-46CF-4FB8-B687-A3B0B2A0B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188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339F5-46CF-4FB8-B687-A3B0B2A0B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623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761644-9DA3-39EE-2F12-1812A88F0F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1000"/>
          </a:blip>
          <a:stretch>
            <a:fillRect/>
          </a:stretch>
        </p:blipFill>
        <p:spPr>
          <a:xfrm>
            <a:off x="0" y="0"/>
            <a:ext cx="12192000" cy="687500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F1482F-8639-47A2-A14A-A0564FE1E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3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F1482F-8639-47A2-A14A-A0564FE1E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  <a:latin typeface="MetricHPE" panose="020B0503030202060203" pitchFamily="34" charset="0"/>
                  <a:sym typeface="MetricHPE" panose="020B0503030202060203" pitchFamily="34" charset="0"/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602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190A53-9E41-43E6-BB9D-7DA618C34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40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190A53-9E41-43E6-BB9D-7DA618C3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" panose="020B0503030202060203" pitchFamily="34" charset="0"/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683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96.xml"/><Relationship Id="rId55" Type="http://schemas.openxmlformats.org/officeDocument/2006/relationships/oleObject" Target="../embeddings/oleObject2.bin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3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66.xml"/><Relationship Id="rId41" Type="http://schemas.openxmlformats.org/officeDocument/2006/relationships/slideLayout" Target="../slideLayouts/slideLayout87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9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132.xml"/><Relationship Id="rId42" Type="http://schemas.openxmlformats.org/officeDocument/2006/relationships/slideLayout" Target="../slideLayouts/slideLayout140.xml"/><Relationship Id="rId47" Type="http://schemas.openxmlformats.org/officeDocument/2006/relationships/slideLayout" Target="../slideLayouts/slideLayout145.xml"/><Relationship Id="rId50" Type="http://schemas.openxmlformats.org/officeDocument/2006/relationships/slideLayout" Target="../slideLayouts/slideLayout148.xml"/><Relationship Id="rId55" Type="http://schemas.openxmlformats.org/officeDocument/2006/relationships/oleObject" Target="../embeddings/oleObject55.bin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slideLayout" Target="../slideLayouts/slideLayout130.xml"/><Relationship Id="rId37" Type="http://schemas.openxmlformats.org/officeDocument/2006/relationships/slideLayout" Target="../slideLayouts/slideLayout135.xml"/><Relationship Id="rId40" Type="http://schemas.openxmlformats.org/officeDocument/2006/relationships/slideLayout" Target="../slideLayouts/slideLayout138.xml"/><Relationship Id="rId45" Type="http://schemas.openxmlformats.org/officeDocument/2006/relationships/slideLayout" Target="../slideLayouts/slideLayout143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slideLayout" Target="../slideLayouts/slideLayout128.xml"/><Relationship Id="rId35" Type="http://schemas.openxmlformats.org/officeDocument/2006/relationships/slideLayout" Target="../slideLayouts/slideLayout133.xml"/><Relationship Id="rId43" Type="http://schemas.openxmlformats.org/officeDocument/2006/relationships/slideLayout" Target="../slideLayouts/slideLayout141.xml"/><Relationship Id="rId48" Type="http://schemas.openxmlformats.org/officeDocument/2006/relationships/slideLayout" Target="../slideLayouts/slideLayout146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106.xml"/><Relationship Id="rId51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33" Type="http://schemas.openxmlformats.org/officeDocument/2006/relationships/slideLayout" Target="../slideLayouts/slideLayout131.xml"/><Relationship Id="rId38" Type="http://schemas.openxmlformats.org/officeDocument/2006/relationships/slideLayout" Target="../slideLayouts/slideLayout136.xml"/><Relationship Id="rId4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18.xml"/><Relationship Id="rId41" Type="http://schemas.openxmlformats.org/officeDocument/2006/relationships/slideLayout" Target="../slideLayouts/slideLayout139.xml"/><Relationship Id="rId54" Type="http://schemas.openxmlformats.org/officeDocument/2006/relationships/tags" Target="../tags/tag56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36" Type="http://schemas.openxmlformats.org/officeDocument/2006/relationships/slideLayout" Target="../slideLayouts/slideLayout134.xml"/><Relationship Id="rId49" Type="http://schemas.openxmlformats.org/officeDocument/2006/relationships/slideLayout" Target="../slideLayouts/slideLayout147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29.xml"/><Relationship Id="rId44" Type="http://schemas.openxmlformats.org/officeDocument/2006/relationships/slideLayout" Target="../slideLayouts/slideLayout142.xml"/><Relationship Id="rId52" Type="http://schemas.openxmlformats.org/officeDocument/2006/relationships/slideLayout" Target="../slideLayouts/slideLayout15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slideLayout" Target="../slideLayouts/slideLayout176.xml"/><Relationship Id="rId39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171.xml"/><Relationship Id="rId34" Type="http://schemas.openxmlformats.org/officeDocument/2006/relationships/slideLayout" Target="../slideLayouts/slideLayout184.xml"/><Relationship Id="rId42" Type="http://schemas.openxmlformats.org/officeDocument/2006/relationships/slideLayout" Target="../slideLayouts/slideLayout192.xml"/><Relationship Id="rId47" Type="http://schemas.openxmlformats.org/officeDocument/2006/relationships/slideLayout" Target="../slideLayouts/slideLayout197.xml"/><Relationship Id="rId50" Type="http://schemas.openxmlformats.org/officeDocument/2006/relationships/tags" Target="../tags/tag105.xml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slideLayout" Target="../slideLayouts/slideLayout182.xml"/><Relationship Id="rId37" Type="http://schemas.openxmlformats.org/officeDocument/2006/relationships/slideLayout" Target="../slideLayouts/slideLayout187.xml"/><Relationship Id="rId40" Type="http://schemas.openxmlformats.org/officeDocument/2006/relationships/slideLayout" Target="../slideLayouts/slideLayout190.xml"/><Relationship Id="rId45" Type="http://schemas.openxmlformats.org/officeDocument/2006/relationships/slideLayout" Target="../slideLayouts/slideLayout19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slideLayout" Target="../slideLayouts/slideLayout181.xml"/><Relationship Id="rId44" Type="http://schemas.openxmlformats.org/officeDocument/2006/relationships/slideLayout" Target="../slideLayouts/slideLayout19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slideLayout" Target="../slideLayouts/slideLayout177.xml"/><Relationship Id="rId30" Type="http://schemas.openxmlformats.org/officeDocument/2006/relationships/slideLayout" Target="../slideLayouts/slideLayout180.xml"/><Relationship Id="rId35" Type="http://schemas.openxmlformats.org/officeDocument/2006/relationships/slideLayout" Target="../slideLayouts/slideLayout185.xml"/><Relationship Id="rId43" Type="http://schemas.openxmlformats.org/officeDocument/2006/relationships/slideLayout" Target="../slideLayouts/slideLayout193.xml"/><Relationship Id="rId48" Type="http://schemas.openxmlformats.org/officeDocument/2006/relationships/slideLayout" Target="../slideLayouts/slideLayout198.xml"/><Relationship Id="rId8" Type="http://schemas.openxmlformats.org/officeDocument/2006/relationships/slideLayout" Target="../slideLayouts/slideLayout158.xml"/><Relationship Id="rId51" Type="http://schemas.openxmlformats.org/officeDocument/2006/relationships/oleObject" Target="../embeddings/oleObject104.bin"/><Relationship Id="rId3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slideLayout" Target="../slideLayouts/slideLayout175.xml"/><Relationship Id="rId33" Type="http://schemas.openxmlformats.org/officeDocument/2006/relationships/slideLayout" Target="../slideLayouts/slideLayout183.xml"/><Relationship Id="rId38" Type="http://schemas.openxmlformats.org/officeDocument/2006/relationships/slideLayout" Target="../slideLayouts/slideLayout188.xml"/><Relationship Id="rId46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170.xml"/><Relationship Id="rId41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slideLayout" Target="../slideLayouts/slideLayout178.xml"/><Relationship Id="rId36" Type="http://schemas.openxmlformats.org/officeDocument/2006/relationships/slideLayout" Target="../slideLayouts/slideLayout186.xml"/><Relationship Id="rId4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1.xml"/><Relationship Id="rId18" Type="http://schemas.openxmlformats.org/officeDocument/2006/relationships/slideLayout" Target="../slideLayouts/slideLayout216.xml"/><Relationship Id="rId26" Type="http://schemas.openxmlformats.org/officeDocument/2006/relationships/slideLayout" Target="../slideLayouts/slideLayout224.xml"/><Relationship Id="rId39" Type="http://schemas.openxmlformats.org/officeDocument/2006/relationships/slideLayout" Target="../slideLayouts/slideLayout237.xml"/><Relationship Id="rId21" Type="http://schemas.openxmlformats.org/officeDocument/2006/relationships/slideLayout" Target="../slideLayouts/slideLayout219.xml"/><Relationship Id="rId34" Type="http://schemas.openxmlformats.org/officeDocument/2006/relationships/slideLayout" Target="../slideLayouts/slideLayout232.xml"/><Relationship Id="rId42" Type="http://schemas.openxmlformats.org/officeDocument/2006/relationships/slideLayout" Target="../slideLayouts/slideLayout240.xml"/><Relationship Id="rId47" Type="http://schemas.openxmlformats.org/officeDocument/2006/relationships/theme" Target="../theme/theme5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214.xml"/><Relationship Id="rId29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09.xml"/><Relationship Id="rId24" Type="http://schemas.openxmlformats.org/officeDocument/2006/relationships/slideLayout" Target="../slideLayouts/slideLayout222.xml"/><Relationship Id="rId32" Type="http://schemas.openxmlformats.org/officeDocument/2006/relationships/slideLayout" Target="../slideLayouts/slideLayout230.xml"/><Relationship Id="rId37" Type="http://schemas.openxmlformats.org/officeDocument/2006/relationships/slideLayout" Target="../slideLayouts/slideLayout235.xml"/><Relationship Id="rId40" Type="http://schemas.openxmlformats.org/officeDocument/2006/relationships/slideLayout" Target="../slideLayouts/slideLayout238.xml"/><Relationship Id="rId45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3.xml"/><Relationship Id="rId23" Type="http://schemas.openxmlformats.org/officeDocument/2006/relationships/slideLayout" Target="../slideLayouts/slideLayout221.xml"/><Relationship Id="rId28" Type="http://schemas.openxmlformats.org/officeDocument/2006/relationships/slideLayout" Target="../slideLayouts/slideLayout226.xml"/><Relationship Id="rId36" Type="http://schemas.openxmlformats.org/officeDocument/2006/relationships/slideLayout" Target="../slideLayouts/slideLayout234.xml"/><Relationship Id="rId49" Type="http://schemas.openxmlformats.org/officeDocument/2006/relationships/oleObject" Target="../embeddings/oleObject105.bin"/><Relationship Id="rId10" Type="http://schemas.openxmlformats.org/officeDocument/2006/relationships/slideLayout" Target="../slideLayouts/slideLayout208.xml"/><Relationship Id="rId19" Type="http://schemas.openxmlformats.org/officeDocument/2006/relationships/slideLayout" Target="../slideLayouts/slideLayout217.xml"/><Relationship Id="rId31" Type="http://schemas.openxmlformats.org/officeDocument/2006/relationships/slideLayout" Target="../slideLayouts/slideLayout229.xml"/><Relationship Id="rId44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Relationship Id="rId22" Type="http://schemas.openxmlformats.org/officeDocument/2006/relationships/slideLayout" Target="../slideLayouts/slideLayout220.xml"/><Relationship Id="rId27" Type="http://schemas.openxmlformats.org/officeDocument/2006/relationships/slideLayout" Target="../slideLayouts/slideLayout225.xml"/><Relationship Id="rId30" Type="http://schemas.openxmlformats.org/officeDocument/2006/relationships/slideLayout" Target="../slideLayouts/slideLayout228.xml"/><Relationship Id="rId35" Type="http://schemas.openxmlformats.org/officeDocument/2006/relationships/slideLayout" Target="../slideLayouts/slideLayout233.xml"/><Relationship Id="rId43" Type="http://schemas.openxmlformats.org/officeDocument/2006/relationships/slideLayout" Target="../slideLayouts/slideLayout241.xml"/><Relationship Id="rId48" Type="http://schemas.openxmlformats.org/officeDocument/2006/relationships/tags" Target="../tags/tag106.xml"/><Relationship Id="rId8" Type="http://schemas.openxmlformats.org/officeDocument/2006/relationships/slideLayout" Target="../slideLayouts/slideLayout206.xml"/><Relationship Id="rId51" Type="http://schemas.openxmlformats.org/officeDocument/2006/relationships/image" Target="../media/image2.png"/><Relationship Id="rId3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10.xml"/><Relationship Id="rId17" Type="http://schemas.openxmlformats.org/officeDocument/2006/relationships/slideLayout" Target="../slideLayouts/slideLayout215.xml"/><Relationship Id="rId25" Type="http://schemas.openxmlformats.org/officeDocument/2006/relationships/slideLayout" Target="../slideLayouts/slideLayout223.xml"/><Relationship Id="rId33" Type="http://schemas.openxmlformats.org/officeDocument/2006/relationships/slideLayout" Target="../slideLayouts/slideLayout231.xml"/><Relationship Id="rId38" Type="http://schemas.openxmlformats.org/officeDocument/2006/relationships/slideLayout" Target="../slideLayouts/slideLayout236.xml"/><Relationship Id="rId46" Type="http://schemas.openxmlformats.org/officeDocument/2006/relationships/slideLayout" Target="../slideLayouts/slideLayout244.xml"/><Relationship Id="rId20" Type="http://schemas.openxmlformats.org/officeDocument/2006/relationships/slideLayout" Target="../slideLayouts/slideLayout218.xml"/><Relationship Id="rId41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0F6530-B592-0AE6-AB94-37B3F6D66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498648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06" imgH="306" progId="TCLayout.ActiveDocument.1">
                  <p:embed/>
                </p:oleObj>
              </mc:Choice>
              <mc:Fallback>
                <p:oleObj name="think-cell Slide" r:id="rId49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1"/>
              </a:buBlip>
              <a:defRPr sz="2000" kern="1200" cap="all" normalizeH="0" baseline="10000">
                <a:solidFill>
                  <a:schemeClr val="bg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02" r:id="rId2"/>
    <p:sldLayoutId id="2147483701" r:id="rId3"/>
    <p:sldLayoutId id="2147483705" r:id="rId4"/>
    <p:sldLayoutId id="2147483661" r:id="rId5"/>
    <p:sldLayoutId id="2147483662" r:id="rId6"/>
    <p:sldLayoutId id="2147483663" r:id="rId7"/>
    <p:sldLayoutId id="2147483685" r:id="rId8"/>
    <p:sldLayoutId id="2147483686" r:id="rId9"/>
    <p:sldLayoutId id="2147483666" r:id="rId10"/>
    <p:sldLayoutId id="2147483756" r:id="rId11"/>
    <p:sldLayoutId id="2147483668" r:id="rId12"/>
    <p:sldLayoutId id="2147483669" r:id="rId13"/>
    <p:sldLayoutId id="2147483652" r:id="rId14"/>
    <p:sldLayoutId id="2147483698" r:id="rId15"/>
    <p:sldLayoutId id="2147483755" r:id="rId16"/>
    <p:sldLayoutId id="2147483670" r:id="rId17"/>
    <p:sldLayoutId id="2147483671" r:id="rId18"/>
    <p:sldLayoutId id="2147483699" r:id="rId19"/>
    <p:sldLayoutId id="2147483672" r:id="rId20"/>
    <p:sldLayoutId id="2147483673" r:id="rId21"/>
    <p:sldLayoutId id="2147483654" r:id="rId22"/>
    <p:sldLayoutId id="2147483679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56" r:id="rId31"/>
    <p:sldLayoutId id="2147483657" r:id="rId32"/>
    <p:sldLayoutId id="2147483758" r:id="rId33"/>
    <p:sldLayoutId id="2147483697" r:id="rId34"/>
    <p:sldLayoutId id="2147483676" r:id="rId35"/>
    <p:sldLayoutId id="2147483677" r:id="rId36"/>
    <p:sldLayoutId id="2147483706" r:id="rId37"/>
    <p:sldLayoutId id="2147483707" r:id="rId38"/>
    <p:sldLayoutId id="2147483704" r:id="rId39"/>
    <p:sldLayoutId id="2147483752" r:id="rId40"/>
    <p:sldLayoutId id="2147483753" r:id="rId41"/>
    <p:sldLayoutId id="2147483703" r:id="rId42"/>
    <p:sldLayoutId id="2147483757" r:id="rId43"/>
    <p:sldLayoutId id="2147483700" r:id="rId44"/>
    <p:sldLayoutId id="2147483759" r:id="rId45"/>
    <p:sldLayoutId id="2147483760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121F0-FBE7-49A7-A4ED-3C39532EC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45137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06" imgH="306" progId="TCLayout.ActiveDocument.1">
                  <p:embed/>
                </p:oleObj>
              </mc:Choice>
              <mc:Fallback>
                <p:oleObj name="think-cell Slide" r:id="rId5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121F0-FBE7-49A7-A4ED-3C39532EC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7"/>
              </a:buBlip>
              <a:defRPr sz="2000" kern="1200" cap="all" normalizeH="0" baseline="100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6788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  <p:sldLayoutId id="2147483802" r:id="rId40"/>
    <p:sldLayoutId id="2147483803" r:id="rId41"/>
    <p:sldLayoutId id="2147483804" r:id="rId42"/>
    <p:sldLayoutId id="2147483805" r:id="rId43"/>
    <p:sldLayoutId id="2147483806" r:id="rId44"/>
    <p:sldLayoutId id="2147483807" r:id="rId45"/>
    <p:sldLayoutId id="2147483808" r:id="rId46"/>
    <p:sldLayoutId id="2147483809" r:id="rId47"/>
    <p:sldLayoutId id="2147483810" r:id="rId48"/>
    <p:sldLayoutId id="2147483811" r:id="rId49"/>
    <p:sldLayoutId id="2147483812" r:id="rId50"/>
    <p:sldLayoutId id="2147483813" r:id="rId51"/>
    <p:sldLayoutId id="2147483814" r:id="rId5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MetricHPE" panose="020B0503030202060203" pitchFamily="34" charset="0"/>
          <a:ea typeface="+mj-ea"/>
          <a:cs typeface="+mj-cs"/>
          <a:sym typeface="MetricHPE" panose="020B0503030202060203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121F0-FBE7-49A7-A4ED-3C39532EC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700372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06" imgH="306" progId="TCLayout.ActiveDocument.1">
                  <p:embed/>
                </p:oleObj>
              </mc:Choice>
              <mc:Fallback>
                <p:oleObj name="think-cell Slide" r:id="rId55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121F0-FBE7-49A7-A4ED-3C39532EC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7"/>
              </a:buBlip>
              <a:defRPr sz="2000" kern="1200" cap="all" normalizeH="0" baseline="100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MetricHPE" panose="020B0503030202060203" pitchFamily="34" charset="0"/>
              <a:sym typeface="MetricHPE" panose="020B0503030202060203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1472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0" r:id="rId25"/>
    <p:sldLayoutId id="2147483841" r:id="rId26"/>
    <p:sldLayoutId id="2147483842" r:id="rId27"/>
    <p:sldLayoutId id="2147483843" r:id="rId28"/>
    <p:sldLayoutId id="2147483844" r:id="rId29"/>
    <p:sldLayoutId id="2147483845" r:id="rId30"/>
    <p:sldLayoutId id="2147483846" r:id="rId31"/>
    <p:sldLayoutId id="2147483847" r:id="rId32"/>
    <p:sldLayoutId id="2147483848" r:id="rId33"/>
    <p:sldLayoutId id="2147483849" r:id="rId34"/>
    <p:sldLayoutId id="2147483850" r:id="rId35"/>
    <p:sldLayoutId id="2147483851" r:id="rId36"/>
    <p:sldLayoutId id="2147483852" r:id="rId37"/>
    <p:sldLayoutId id="2147483853" r:id="rId38"/>
    <p:sldLayoutId id="2147483854" r:id="rId39"/>
    <p:sldLayoutId id="2147483855" r:id="rId40"/>
    <p:sldLayoutId id="2147483856" r:id="rId41"/>
    <p:sldLayoutId id="2147483857" r:id="rId42"/>
    <p:sldLayoutId id="2147483858" r:id="rId43"/>
    <p:sldLayoutId id="2147483859" r:id="rId44"/>
    <p:sldLayoutId id="2147483860" r:id="rId45"/>
    <p:sldLayoutId id="2147483861" r:id="rId46"/>
    <p:sldLayoutId id="2147483862" r:id="rId47"/>
    <p:sldLayoutId id="2147483863" r:id="rId48"/>
    <p:sldLayoutId id="2147483864" r:id="rId49"/>
    <p:sldLayoutId id="2147483865" r:id="rId50"/>
    <p:sldLayoutId id="2147483866" r:id="rId51"/>
    <p:sldLayoutId id="2147483867" r:id="rId5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MetricHPE" panose="020B0503030202060203" pitchFamily="34" charset="0"/>
          <a:ea typeface="+mj-ea"/>
          <a:cs typeface="+mj-cs"/>
          <a:sym typeface="MetricHPE" panose="020B0503030202060203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28832E-A52F-4ED7-A6BD-47DBFDFFA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57738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06" imgH="306" progId="TCLayout.ActiveDocument.1">
                  <p:embed/>
                </p:oleObj>
              </mc:Choice>
              <mc:Fallback>
                <p:oleObj name="think-cell Slide" r:id="rId51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28832E-A52F-4ED7-A6BD-47DBFDFFA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711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897" r:id="rId29"/>
    <p:sldLayoutId id="2147483898" r:id="rId30"/>
    <p:sldLayoutId id="2147483899" r:id="rId31"/>
    <p:sldLayoutId id="2147483900" r:id="rId32"/>
    <p:sldLayoutId id="2147483901" r:id="rId33"/>
    <p:sldLayoutId id="2147483902" r:id="rId34"/>
    <p:sldLayoutId id="2147483903" r:id="rId35"/>
    <p:sldLayoutId id="2147483904" r:id="rId36"/>
    <p:sldLayoutId id="2147483905" r:id="rId37"/>
    <p:sldLayoutId id="2147483906" r:id="rId38"/>
    <p:sldLayoutId id="2147483907" r:id="rId39"/>
    <p:sldLayoutId id="2147483908" r:id="rId40"/>
    <p:sldLayoutId id="2147483909" r:id="rId41"/>
    <p:sldLayoutId id="2147483910" r:id="rId42"/>
    <p:sldLayoutId id="2147483911" r:id="rId43"/>
    <p:sldLayoutId id="2147483912" r:id="rId44"/>
    <p:sldLayoutId id="2147483913" r:id="rId45"/>
    <p:sldLayoutId id="2147483914" r:id="rId46"/>
    <p:sldLayoutId id="2147483915" r:id="rId47"/>
    <p:sldLayoutId id="2147483916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72FC81-2409-21AA-DC99-FF7B2786AB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868929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06" imgH="306" progId="TCLayout.ActiveDocument.1">
                  <p:embed/>
                </p:oleObj>
              </mc:Choice>
              <mc:Fallback>
                <p:oleObj name="think-cell Slide" r:id="rId49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72FC81-2409-21AA-DC99-FF7B2786A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1"/>
              </a:buBlip>
              <a:defRPr sz="2000" kern="1200" cap="all" normalizeH="0" baseline="10000">
                <a:solidFill>
                  <a:schemeClr val="bg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 dirty="0"/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3703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  <p:sldLayoutId id="2147483932" r:id="rId15"/>
    <p:sldLayoutId id="2147483933" r:id="rId16"/>
    <p:sldLayoutId id="2147483934" r:id="rId17"/>
    <p:sldLayoutId id="2147483935" r:id="rId18"/>
    <p:sldLayoutId id="2147483936" r:id="rId19"/>
    <p:sldLayoutId id="2147483937" r:id="rId20"/>
    <p:sldLayoutId id="2147483938" r:id="rId21"/>
    <p:sldLayoutId id="2147483939" r:id="rId22"/>
    <p:sldLayoutId id="2147483940" r:id="rId23"/>
    <p:sldLayoutId id="2147483941" r:id="rId24"/>
    <p:sldLayoutId id="2147483942" r:id="rId25"/>
    <p:sldLayoutId id="2147483943" r:id="rId26"/>
    <p:sldLayoutId id="2147483944" r:id="rId27"/>
    <p:sldLayoutId id="2147483945" r:id="rId28"/>
    <p:sldLayoutId id="2147483946" r:id="rId29"/>
    <p:sldLayoutId id="2147483947" r:id="rId30"/>
    <p:sldLayoutId id="2147483948" r:id="rId31"/>
    <p:sldLayoutId id="2147483949" r:id="rId32"/>
    <p:sldLayoutId id="2147483950" r:id="rId33"/>
    <p:sldLayoutId id="2147483951" r:id="rId34"/>
    <p:sldLayoutId id="2147483952" r:id="rId35"/>
    <p:sldLayoutId id="2147483953" r:id="rId36"/>
    <p:sldLayoutId id="2147483954" r:id="rId37"/>
    <p:sldLayoutId id="2147483955" r:id="rId38"/>
    <p:sldLayoutId id="2147483956" r:id="rId39"/>
    <p:sldLayoutId id="2147483957" r:id="rId40"/>
    <p:sldLayoutId id="2147483958" r:id="rId41"/>
    <p:sldLayoutId id="2147483959" r:id="rId42"/>
    <p:sldLayoutId id="2147483960" r:id="rId43"/>
    <p:sldLayoutId id="2147483961" r:id="rId44"/>
    <p:sldLayoutId id="2147483962" r:id="rId45"/>
    <p:sldLayoutId id="2147483963" r:id="rId4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106.bin"/><Relationship Id="rId7" Type="http://schemas.openxmlformats.org/officeDocument/2006/relationships/image" Target="../media/image16.svg"/><Relationship Id="rId2" Type="http://schemas.openxmlformats.org/officeDocument/2006/relationships/slideLayout" Target="../slideLayouts/slideLayout241.xml"/><Relationship Id="rId1" Type="http://schemas.openxmlformats.org/officeDocument/2006/relationships/tags" Target="../tags/tag107.xml"/><Relationship Id="rId6" Type="http://schemas.openxmlformats.org/officeDocument/2006/relationships/image" Target="../media/image15.png"/><Relationship Id="rId5" Type="http://schemas.openxmlformats.org/officeDocument/2006/relationships/image" Target="../media/image2.png"/><Relationship Id="rId4" Type="http://schemas.openxmlformats.org/officeDocument/2006/relationships/image" Target="../media/image1.emf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98CB00-F5C4-667B-6435-68E5C1986A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77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98CB00-F5C4-667B-6435-68E5C1986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Arrow: Right 48">
            <a:extLst>
              <a:ext uri="{FF2B5EF4-FFF2-40B4-BE49-F238E27FC236}">
                <a16:creationId xmlns:a16="http://schemas.microsoft.com/office/drawing/2014/main" id="{1428C57C-8F8A-9A4E-3695-2CFF36765560}"/>
              </a:ext>
            </a:extLst>
          </p:cNvPr>
          <p:cNvSpPr/>
          <p:nvPr/>
        </p:nvSpPr>
        <p:spPr bwMode="ltGray">
          <a:xfrm>
            <a:off x="1" y="2807208"/>
            <a:ext cx="12191998" cy="2734056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EE376D-65CB-33BD-BB69-D08C3DD7CF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5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5"/>
                </a:buBlip>
                <a:tabLst/>
                <a:defRPr/>
              </a:pPr>
              <a:t>1</a:t>
            </a:fld>
            <a:endParaRPr kumimoji="0" lang="en-US" sz="2000" b="0" i="0" u="none" strike="noStrike" kern="1200" cap="all" spc="0" normalizeH="0" baseline="1000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B98613-85CF-328C-8F11-3E65EDAA268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455713"/>
            <a:ext cx="12192000" cy="770116"/>
          </a:xfrm>
        </p:spPr>
        <p:txBody>
          <a:bodyPr vert="horz"/>
          <a:lstStyle/>
          <a:p>
            <a:pPr algn="ctr"/>
            <a:r>
              <a:rPr lang="en-US" sz="3600" dirty="0">
                <a:solidFill>
                  <a:schemeClr val="accent3"/>
                </a:solidFill>
              </a:rPr>
              <a:t>Accelerate and modernize </a:t>
            </a:r>
            <a:r>
              <a:rPr lang="en-US" sz="2000" dirty="0"/>
              <a:t> </a:t>
            </a:r>
            <a:r>
              <a:rPr lang="en-US" sz="3600" dirty="0">
                <a:solidFill>
                  <a:schemeClr val="accent3"/>
                </a:solidFill>
              </a:rPr>
              <a:t>workload efficiency </a:t>
            </a:r>
            <a:br>
              <a:rPr lang="en-US" dirty="0">
                <a:solidFill>
                  <a:schemeClr val="accent3"/>
                </a:solidFill>
              </a:rPr>
            </a:br>
            <a:r>
              <a:rPr lang="en-US" dirty="0"/>
              <a:t>with HPE ProLiant Gen11 with 4</a:t>
            </a:r>
            <a:r>
              <a:rPr lang="en-US" baseline="30000" dirty="0"/>
              <a:t>th</a:t>
            </a:r>
            <a:r>
              <a:rPr lang="en-US" dirty="0"/>
              <a:t> Generation Intel Scalable Processors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C5572D9-E60E-9BDB-F96B-8DA70641A194}"/>
              </a:ext>
            </a:extLst>
          </p:cNvPr>
          <p:cNvSpPr txBox="1"/>
          <p:nvPr/>
        </p:nvSpPr>
        <p:spPr>
          <a:xfrm>
            <a:off x="0" y="1294267"/>
            <a:ext cx="957841" cy="46166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Calibri" panose="020F0502020204030204" pitchFamily="34" charset="0"/>
                <a:cs typeface="Times New Roman" panose="02020603050405020304" pitchFamily="18" charset="0"/>
                <a:sym typeface="MetricHPE" panose="020B0503030202060203" pitchFamily="34" charset="0"/>
              </a:rPr>
              <a:t>Up to: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AAE84B-3C0F-54CC-A5D5-BE2F26B6B64E}"/>
              </a:ext>
            </a:extLst>
          </p:cNvPr>
          <p:cNvSpPr txBox="1"/>
          <p:nvPr/>
        </p:nvSpPr>
        <p:spPr>
          <a:xfrm>
            <a:off x="1389625" y="6104474"/>
            <a:ext cx="9885099" cy="84638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  and the names SPECpower_ssj and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rate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 are registered trademarks of the Standard Performance Evaluation Corporation (SPEC). The stated results are published or under review as of 06-10-2023, see spec.org. All rights reserved.</a:t>
            </a:r>
          </a:p>
          <a:p>
            <a:pPr marL="92075" lvl="0" indent="-92075">
              <a:buFont typeface="+mj-lt"/>
              <a:buAutoNum type="arabicPeriod"/>
              <a:defRPr/>
            </a:pPr>
            <a:r>
              <a:rPr lang="en-US" sz="700" dirty="0">
                <a:solidFill>
                  <a:prstClr val="white"/>
                </a:solidFill>
                <a:latin typeface="MetricHPE"/>
              </a:rPr>
              <a:t>SPECrate2017_int_base (same performance envelope):  #36223, and 36691.</a:t>
            </a:r>
          </a:p>
          <a:p>
            <a:pPr marL="92075" lvl="0" indent="-92075"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rate2017_int_base (same performance envelope): #36223, and 36691, and power values estimated via HPE Power Advisor.</a:t>
            </a:r>
          </a:p>
          <a:p>
            <a:pPr marL="92075" lvl="0" indent="-92075"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power_ssj 2008 (same performance envelope): SPECpower_ssj 2008: #1273 and 1274</a:t>
            </a:r>
          </a:p>
          <a:p>
            <a:pPr marL="92075" lvl="0" indent="-92075"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power_ssj 2008 (at 100% utilization): #1273 and 1274</a:t>
            </a:r>
          </a:p>
          <a:p>
            <a:pPr marL="92075" lvl="0" indent="-92075">
              <a:buFont typeface="+mj-lt"/>
              <a:buAutoNum type="arabicPeriod"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PECrate2017_int_base: #20893, 36218, 37007, 37004 and pricing on April / June 2023.</a:t>
            </a:r>
          </a:p>
          <a:p>
            <a:pPr lvl="0"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grpSp>
        <p:nvGrpSpPr>
          <p:cNvPr id="36" name="Group 35"/>
          <p:cNvGrpSpPr>
            <a:grpSpLocks noChangeAspect="1"/>
          </p:cNvGrpSpPr>
          <p:nvPr/>
        </p:nvGrpSpPr>
        <p:grpSpPr>
          <a:xfrm>
            <a:off x="358918" y="2886465"/>
            <a:ext cx="2704921" cy="2439560"/>
            <a:chOff x="260771" y="1618302"/>
            <a:chExt cx="2846673" cy="2567406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7363A03-0980-0637-27C1-7770619F93A1}"/>
                </a:ext>
              </a:extLst>
            </p:cNvPr>
            <p:cNvSpPr>
              <a:spLocks noChangeAspect="1"/>
            </p:cNvSpPr>
            <p:nvPr/>
          </p:nvSpPr>
          <p:spPr bwMode="ltGray">
            <a:xfrm>
              <a:off x="962958" y="2636848"/>
              <a:ext cx="1909850" cy="499080"/>
            </a:xfrm>
            <a:prstGeom prst="rect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ts val="6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200" b="1" cap="all" dirty="0">
                  <a:solidFill>
                    <a:schemeClr val="tx1"/>
                  </a:solidFill>
                  <a:latin typeface="MetricHPE"/>
                </a:rPr>
                <a:t>8:1</a:t>
              </a:r>
              <a:endParaRPr kumimoji="0" lang="en-US" sz="72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522DEC6-F3ED-79FE-3C85-60D3560CCCCD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260771" y="1618302"/>
              <a:ext cx="2846673" cy="2567406"/>
              <a:chOff x="4414878" y="1947606"/>
              <a:chExt cx="3711819" cy="3347679"/>
            </a:xfrm>
            <a:solidFill>
              <a:schemeClr val="accent5"/>
            </a:solidFill>
          </p:grpSpPr>
          <p:sp>
            <p:nvSpPr>
              <p:cNvPr id="41" name="Circle: Hollow 49">
                <a:extLst>
                  <a:ext uri="{FF2B5EF4-FFF2-40B4-BE49-F238E27FC236}">
                    <a16:creationId xmlns:a16="http://schemas.microsoft.com/office/drawing/2014/main" id="{8FB5EF4E-584E-5131-DA60-2F8418945BD5}"/>
                  </a:ext>
                </a:extLst>
              </p:cNvPr>
              <p:cNvSpPr/>
              <p:nvPr/>
            </p:nvSpPr>
            <p:spPr bwMode="ltGray">
              <a:xfrm>
                <a:off x="4414878" y="1947606"/>
                <a:ext cx="3335292" cy="3347679"/>
              </a:xfrm>
              <a:prstGeom prst="donut">
                <a:avLst>
                  <a:gd name="adj" fmla="val 3557"/>
                </a:avLst>
              </a:prstGeom>
              <a:solidFill>
                <a:schemeClr val="accent3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42" name="Arrow: Down 50">
                <a:extLst>
                  <a:ext uri="{FF2B5EF4-FFF2-40B4-BE49-F238E27FC236}">
                    <a16:creationId xmlns:a16="http://schemas.microsoft.com/office/drawing/2014/main" id="{E9AAD60A-2B3D-3F80-FA78-D157747DBDC7}"/>
                  </a:ext>
                </a:extLst>
              </p:cNvPr>
              <p:cNvSpPr/>
              <p:nvPr/>
            </p:nvSpPr>
            <p:spPr bwMode="ltGray">
              <a:xfrm rot="10800000">
                <a:off x="7263443" y="3151175"/>
                <a:ext cx="863254" cy="931656"/>
              </a:xfrm>
              <a:prstGeom prst="downArrow">
                <a:avLst/>
              </a:prstGeom>
              <a:solidFill>
                <a:schemeClr val="accent3"/>
              </a:solidFill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C430E3D-8CA6-0892-AB8F-238675FBF201}"/>
                </a:ext>
              </a:extLst>
            </p:cNvPr>
            <p:cNvSpPr txBox="1"/>
            <p:nvPr/>
          </p:nvSpPr>
          <p:spPr>
            <a:xfrm>
              <a:off x="962958" y="3135928"/>
              <a:ext cx="1909850" cy="417839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 panose="020B0303030202060203" pitchFamily="34" charset="0"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Gen9 to Gen11 serv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 panose="020B0303030202060203" pitchFamily="34" charset="0"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consolidation</a:t>
              </a:r>
              <a:r>
                <a:rPr kumimoji="0" lang="en-US" sz="1100" b="1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1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6F73F2B-155C-E43A-A417-AA0D70784252}"/>
              </a:ext>
            </a:extLst>
          </p:cNvPr>
          <p:cNvGrpSpPr/>
          <p:nvPr/>
        </p:nvGrpSpPr>
        <p:grpSpPr>
          <a:xfrm>
            <a:off x="8429206" y="2911194"/>
            <a:ext cx="2123999" cy="2390102"/>
            <a:chOff x="9304973" y="2136657"/>
            <a:chExt cx="2123999" cy="239010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F58B849-C1FC-3471-FF13-69614978B983}"/>
                </a:ext>
              </a:extLst>
            </p:cNvPr>
            <p:cNvGrpSpPr/>
            <p:nvPr/>
          </p:nvGrpSpPr>
          <p:grpSpPr>
            <a:xfrm>
              <a:off x="9304973" y="2136657"/>
              <a:ext cx="2123999" cy="2390102"/>
              <a:chOff x="6517822" y="2044684"/>
              <a:chExt cx="2235308" cy="2515356"/>
            </a:xfrm>
          </p:grpSpPr>
          <p:sp>
            <p:nvSpPr>
              <p:cNvPr id="31" name="Rectangle: Rounded Corners 30">
                <a:extLst>
                  <a:ext uri="{FF2B5EF4-FFF2-40B4-BE49-F238E27FC236}">
                    <a16:creationId xmlns:a16="http://schemas.microsoft.com/office/drawing/2014/main" id="{6273651C-4B9B-E342-F327-C2038E12224F}"/>
                  </a:ext>
                </a:extLst>
              </p:cNvPr>
              <p:cNvSpPr/>
              <p:nvPr/>
            </p:nvSpPr>
            <p:spPr bwMode="ltGray">
              <a:xfrm>
                <a:off x="6517822" y="2044684"/>
                <a:ext cx="2235308" cy="2515356"/>
              </a:xfrm>
              <a:prstGeom prst="roundRect">
                <a:avLst/>
              </a:prstGeom>
              <a:solidFill>
                <a:schemeClr val="tx1"/>
              </a:solidFill>
              <a:ln w="571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C1DC208F-0517-2F67-AD11-288B6573CCCD}"/>
                  </a:ext>
                </a:extLst>
              </p:cNvPr>
              <p:cNvSpPr>
                <a:spLocks noChangeAspect="1"/>
              </p:cNvSpPr>
              <p:nvPr/>
            </p:nvSpPr>
            <p:spPr bwMode="ltGray">
              <a:xfrm>
                <a:off x="6680550" y="3257311"/>
                <a:ext cx="1909850" cy="1085580"/>
              </a:xfrm>
              <a:prstGeom prst="rect">
                <a:avLst/>
              </a:prstGeom>
              <a:noFill/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ts val="61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200" b="1" i="0" u="none" strike="noStrike" kern="1200" spc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+mn-ea"/>
                    <a:cs typeface="+mn-cs"/>
                  </a:rPr>
                  <a:t>6x</a:t>
                </a:r>
                <a:endParaRPr kumimoji="0" lang="en-US" sz="7200" b="1" i="0" u="none" strike="noStrike" kern="1200" spc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F94030F7-14B6-BDE5-EE27-A466604964B8}"/>
                  </a:ext>
                </a:extLst>
              </p:cNvPr>
              <p:cNvSpPr txBox="1"/>
              <p:nvPr/>
            </p:nvSpPr>
            <p:spPr>
              <a:xfrm>
                <a:off x="6712797" y="4050029"/>
                <a:ext cx="1909851" cy="403263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" panose="020B0303030202060203" pitchFamily="34" charset="0"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more performance per kW versus Gen8</a:t>
                </a:r>
                <a:r>
                  <a:rPr kumimoji="0" lang="en-US" sz="105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4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 </a:t>
                </a:r>
              </a:p>
            </p:txBody>
          </p:sp>
        </p:grpSp>
        <p:pic>
          <p:nvPicPr>
            <p:cNvPr id="35" name="Grafika 52">
              <a:extLst>
                <a:ext uri="{FF2B5EF4-FFF2-40B4-BE49-F238E27FC236}">
                  <a16:creationId xmlns:a16="http://schemas.microsoft.com/office/drawing/2014/main" id="{4EEDC9D2-FAFD-01EF-7A35-ACF62672A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997634" y="2257776"/>
              <a:ext cx="799958" cy="101813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3EC41AB-DF24-F72F-4F69-CC525F9A348A}"/>
              </a:ext>
            </a:extLst>
          </p:cNvPr>
          <p:cNvGrpSpPr>
            <a:grpSpLocks noChangeAspect="1"/>
          </p:cNvGrpSpPr>
          <p:nvPr/>
        </p:nvGrpSpPr>
        <p:grpSpPr>
          <a:xfrm>
            <a:off x="3239552" y="2911194"/>
            <a:ext cx="2123999" cy="2390102"/>
            <a:chOff x="9273767" y="1618302"/>
            <a:chExt cx="2235308" cy="251535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E8DE8B9-D1A5-ED8D-E3B4-69EEF1B97272}"/>
                </a:ext>
              </a:extLst>
            </p:cNvPr>
            <p:cNvGrpSpPr/>
            <p:nvPr/>
          </p:nvGrpSpPr>
          <p:grpSpPr>
            <a:xfrm>
              <a:off x="9273767" y="1618302"/>
              <a:ext cx="2235308" cy="2515356"/>
              <a:chOff x="6517822" y="2044684"/>
              <a:chExt cx="2235308" cy="2515356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6278CF7-7F67-DCB6-72F6-80D2E9DCE8E0}"/>
                  </a:ext>
                </a:extLst>
              </p:cNvPr>
              <p:cNvSpPr/>
              <p:nvPr/>
            </p:nvSpPr>
            <p:spPr bwMode="ltGray">
              <a:xfrm>
                <a:off x="6517822" y="2044684"/>
                <a:ext cx="2235308" cy="2515356"/>
              </a:xfrm>
              <a:prstGeom prst="roundRect">
                <a:avLst/>
              </a:prstGeom>
              <a:solidFill>
                <a:schemeClr val="tx1"/>
              </a:solidFill>
              <a:ln w="571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C59B1D2-1DCC-9F34-911C-D05B8883385E}"/>
                  </a:ext>
                </a:extLst>
              </p:cNvPr>
              <p:cNvSpPr>
                <a:spLocks noChangeAspect="1"/>
              </p:cNvSpPr>
              <p:nvPr/>
            </p:nvSpPr>
            <p:spPr bwMode="ltGray">
              <a:xfrm>
                <a:off x="6680550" y="3257311"/>
                <a:ext cx="1909850" cy="1085580"/>
              </a:xfrm>
              <a:prstGeom prst="rect">
                <a:avLst/>
              </a:prstGeom>
              <a:noFill/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ts val="61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7200" b="1" i="0" u="none" strike="noStrike" kern="1200" cap="all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+mn-ea"/>
                    <a:cs typeface="+mn-cs"/>
                  </a:rPr>
                  <a:t>65%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DF7EDA5D-578B-3FBD-0182-5048FAB3A87B}"/>
                  </a:ext>
                </a:extLst>
              </p:cNvPr>
              <p:cNvSpPr txBox="1"/>
              <p:nvPr/>
            </p:nvSpPr>
            <p:spPr>
              <a:xfrm>
                <a:off x="6712797" y="4050029"/>
                <a:ext cx="1909851" cy="403263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" panose="020B0303030202060203" pitchFamily="34" charset="0"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power savings per year after Gen9 to Gen11 consolidation</a:t>
                </a:r>
                <a:r>
                  <a:rPr kumimoji="0" lang="en-US" sz="1050" b="1" i="0" u="none" strike="noStrike" kern="1200" cap="none" spc="0" normalizeH="0" baseline="3000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2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MetricHPE"/>
                    <a:ea typeface="Calibri" panose="020F0502020204030204" pitchFamily="34" charset="0"/>
                    <a:cs typeface="Times New Roman" panose="02020603050405020304" pitchFamily="18" charset="0"/>
                    <a:sym typeface="MetricHPE" panose="020B0503030202060203" pitchFamily="34" charset="0"/>
                  </a:rPr>
                  <a:t> </a:t>
                </a:r>
              </a:p>
            </p:txBody>
          </p:sp>
        </p:grpSp>
        <p:pic>
          <p:nvPicPr>
            <p:cNvPr id="11" name="Grafika 47">
              <a:extLst>
                <a:ext uri="{FF2B5EF4-FFF2-40B4-BE49-F238E27FC236}">
                  <a16:creationId xmlns:a16="http://schemas.microsoft.com/office/drawing/2014/main" id="{FDE8E8F6-9833-E25E-652B-FA444B39194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970479" y="1875922"/>
              <a:ext cx="841880" cy="955649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6757AD-5067-0248-E36C-2E03A0316311}"/>
              </a:ext>
            </a:extLst>
          </p:cNvPr>
          <p:cNvGrpSpPr>
            <a:grpSpLocks noChangeAspect="1"/>
          </p:cNvGrpSpPr>
          <p:nvPr/>
        </p:nvGrpSpPr>
        <p:grpSpPr>
          <a:xfrm>
            <a:off x="5553627" y="2889867"/>
            <a:ext cx="2704921" cy="2439560"/>
            <a:chOff x="260771" y="1618302"/>
            <a:chExt cx="2846673" cy="256740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468DA62-274B-BC4D-EB8E-A2A46A694B9B}"/>
                </a:ext>
              </a:extLst>
            </p:cNvPr>
            <p:cNvSpPr>
              <a:spLocks noChangeAspect="1"/>
            </p:cNvSpPr>
            <p:nvPr/>
          </p:nvSpPr>
          <p:spPr bwMode="ltGray">
            <a:xfrm>
              <a:off x="962958" y="2636848"/>
              <a:ext cx="1909850" cy="499080"/>
            </a:xfrm>
            <a:prstGeom prst="rect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ts val="6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7200" b="1" cap="all" dirty="0">
                  <a:solidFill>
                    <a:schemeClr val="tx1"/>
                  </a:solidFill>
                  <a:latin typeface="MetricHPE"/>
                </a:rPr>
                <a:t>11:1</a:t>
              </a:r>
              <a:endParaRPr kumimoji="0" lang="en-US" sz="72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D358547-2E4C-2189-2F9B-DA38974E1256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260771" y="1618302"/>
              <a:ext cx="2846673" cy="2567406"/>
              <a:chOff x="4414878" y="1947606"/>
              <a:chExt cx="3711819" cy="3347679"/>
            </a:xfrm>
            <a:solidFill>
              <a:schemeClr val="accent5"/>
            </a:solidFill>
          </p:grpSpPr>
          <p:sp>
            <p:nvSpPr>
              <p:cNvPr id="19" name="Circle: Hollow 49">
                <a:extLst>
                  <a:ext uri="{FF2B5EF4-FFF2-40B4-BE49-F238E27FC236}">
                    <a16:creationId xmlns:a16="http://schemas.microsoft.com/office/drawing/2014/main" id="{665E50C2-CF54-A90B-C2F8-53DD87A5D2BB}"/>
                  </a:ext>
                </a:extLst>
              </p:cNvPr>
              <p:cNvSpPr/>
              <p:nvPr/>
            </p:nvSpPr>
            <p:spPr bwMode="ltGray">
              <a:xfrm>
                <a:off x="4414878" y="1947606"/>
                <a:ext cx="3335292" cy="3347679"/>
              </a:xfrm>
              <a:prstGeom prst="donut">
                <a:avLst>
                  <a:gd name="adj" fmla="val 3557"/>
                </a:avLst>
              </a:prstGeom>
              <a:solidFill>
                <a:schemeClr val="accent3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20" name="Arrow: Down 50">
                <a:extLst>
                  <a:ext uri="{FF2B5EF4-FFF2-40B4-BE49-F238E27FC236}">
                    <a16:creationId xmlns:a16="http://schemas.microsoft.com/office/drawing/2014/main" id="{6DF199DA-BAE0-E792-7C5D-EE7177C0AD76}"/>
                  </a:ext>
                </a:extLst>
              </p:cNvPr>
              <p:cNvSpPr/>
              <p:nvPr/>
            </p:nvSpPr>
            <p:spPr bwMode="ltGray">
              <a:xfrm rot="10800000">
                <a:off x="7263443" y="3151175"/>
                <a:ext cx="863254" cy="931656"/>
              </a:xfrm>
              <a:prstGeom prst="downArrow">
                <a:avLst/>
              </a:prstGeom>
              <a:solidFill>
                <a:schemeClr val="accent3"/>
              </a:solidFill>
              <a:ln w="571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AFD1D55-FB6A-B1C4-8E3A-F98EA5E24108}"/>
                </a:ext>
              </a:extLst>
            </p:cNvPr>
            <p:cNvSpPr txBox="1"/>
            <p:nvPr/>
          </p:nvSpPr>
          <p:spPr>
            <a:xfrm>
              <a:off x="962958" y="3135928"/>
              <a:ext cx="1909850" cy="417839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 panose="020B0303030202060203" pitchFamily="34" charset="0"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Gen8 to Gen11 serv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" panose="020B0303030202060203" pitchFamily="34" charset="0"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consolidation</a:t>
              </a:r>
              <a:r>
                <a:rPr kumimoji="0" lang="en-US" sz="1100" b="1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Calibri" panose="020F0502020204030204" pitchFamily="34" charset="0"/>
                  <a:cs typeface="Times New Roman" panose="02020603050405020304" pitchFamily="18" charset="0"/>
                  <a:sym typeface="MetricHPE" panose="020B0503030202060203" pitchFamily="34" charset="0"/>
                </a:rPr>
                <a:t>3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10FF9F2-B3ED-73BA-E36C-A900C4DA9AB7}"/>
              </a:ext>
            </a:extLst>
          </p:cNvPr>
          <p:cNvSpPr txBox="1"/>
          <p:nvPr/>
        </p:nvSpPr>
        <p:spPr>
          <a:xfrm>
            <a:off x="715718" y="1757032"/>
            <a:ext cx="10304897" cy="757130"/>
          </a:xfrm>
          <a:prstGeom prst="rect">
            <a:avLst/>
          </a:prstGeom>
          <a:solidFill>
            <a:schemeClr val="accent3"/>
          </a:solidFill>
          <a:ln w="57150">
            <a:noFill/>
            <a:miter lim="800000"/>
          </a:ln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MetricHPE"/>
              </a:rPr>
              <a:t>9</a:t>
            </a:r>
            <a:r>
              <a:rPr kumimoji="0" lang="en-US" sz="2800" b="1" i="0" u="none" strike="noStrike" kern="1200" spc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0% better price/performance</a:t>
            </a:r>
            <a:br>
              <a:rPr kumimoji="0" lang="en-US" sz="2800" b="1" i="0" u="none" strike="noStrike" kern="1200" spc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2000" i="0" u="none" strike="noStrike" kern="1200" spc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Gen11 versus Gen10/Gen10 Plus</a:t>
            </a:r>
            <a:r>
              <a:rPr kumimoji="0" lang="en-US" sz="2000" i="0" u="none" strike="noStrike" kern="1200" spc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5</a:t>
            </a:r>
            <a:endParaRPr kumimoji="0" lang="en-US" sz="2800" i="0" u="none" strike="noStrike" kern="1200" spc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763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2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37941_HPE_ProLiant_Compute_Presentation" id="{94C0538A-D2EF-4AC4-B3AD-25B8F863B40B}" vid="{20ECF8DD-94BE-4F1F-B048-22242BC77F15}"/>
    </a:ext>
  </a:extLst>
</a:theme>
</file>

<file path=ppt/theme/theme3.xml><?xml version="1.0" encoding="utf-8"?>
<a:theme xmlns:a="http://schemas.openxmlformats.org/drawingml/2006/main" name="2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37941_HPE_ProLiant_Compute_Presentation" id="{94C0538A-D2EF-4AC4-B3AD-25B8F863B40B}" vid="{20ECF8DD-94BE-4F1F-B048-22242BC77F15}"/>
    </a:ext>
  </a:extLst>
</a:theme>
</file>

<file path=ppt/theme/theme4.xml><?xml version="1.0" encoding="utf-8"?>
<a:theme xmlns:a="http://schemas.openxmlformats.org/drawingml/2006/main" name="3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5.xml><?xml version="1.0" encoding="utf-8"?>
<a:theme xmlns:a="http://schemas.openxmlformats.org/drawingml/2006/main" name="4_HPE Standard 16x9 White Template">
  <a:themeElements>
    <a:clrScheme name="Custom 25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FFFFFF"/>
      </a:hlink>
      <a:folHlink>
        <a:srgbClr val="FFFFFF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6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07F559FA4E9146AD2FCDCEA5395715" ma:contentTypeVersion="18" ma:contentTypeDescription="Create a new document." ma:contentTypeScope="" ma:versionID="6c75abe12d86410a62ab75408ab78f24">
  <xsd:schema xmlns:xsd="http://www.w3.org/2001/XMLSchema" xmlns:xs="http://www.w3.org/2001/XMLSchema" xmlns:p="http://schemas.microsoft.com/office/2006/metadata/properties" xmlns:ns2="210bef52-0b5c-44c7-af6e-0c8224974638" xmlns:ns3="24ac9f69-3c1b-43db-aedc-e8415cc2ca13" xmlns:ns4="528dc42b-a8a9-4871-b1aa-61453096122c" targetNamespace="http://schemas.microsoft.com/office/2006/metadata/properties" ma:root="true" ma:fieldsID="7a5bab3ac43f880a5e67f3cd6e1259d5" ns2:_="" ns3:_="" ns4:_="">
    <xsd:import namespace="210bef52-0b5c-44c7-af6e-0c8224974638"/>
    <xsd:import namespace="24ac9f69-3c1b-43db-aedc-e8415cc2ca13"/>
    <xsd:import namespace="528dc42b-a8a9-4871-b1aa-6145309612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CR" minOccurs="0"/>
                <xsd:element ref="ns2:lcf76f155ced4ddcb4097134ff3c332f" minOccurs="0"/>
                <xsd:element ref="ns4:TaxCatchAll" minOccurs="0"/>
                <xsd:element ref="ns4:TaxKeywordTaxHTField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0bef52-0b5c-44c7-af6e-0c82249746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5aa102e-2e4d-4f82-9951-c6a7f8de6b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ac9f69-3c1b-43db-aedc-e8415cc2ca1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8dc42b-a8a9-4871-b1aa-61453096122c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f00d1621-4e4e-4009-a951-fcda0665f7e0" ma:internalName="TaxCatchAll" ma:showField="CatchAllData" ma:web="24ac9f69-3c1b-43db-aedc-e8415cc2ca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24" nillable="true" ma:taxonomy="true" ma:internalName="TaxKeywordTaxHTField" ma:taxonomyFieldName="TaxKeyword" ma:displayName="Enterprise Keywords" ma:fieldId="{23f27201-bee3-471e-b2e7-b64fd8b7ca38}" ma:taxonomyMulti="true" ma:sspId="25aa102e-2e4d-4f82-9951-c6a7f8de6b7f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28dc42b-a8a9-4871-b1aa-61453096122c" xsi:nil="true"/>
    <lcf76f155ced4ddcb4097134ff3c332f xmlns="210bef52-0b5c-44c7-af6e-0c8224974638">
      <Terms xmlns="http://schemas.microsoft.com/office/infopath/2007/PartnerControls"/>
    </lcf76f155ced4ddcb4097134ff3c332f>
    <TaxKeywordTaxHTField xmlns="528dc42b-a8a9-4871-b1aa-61453096122c">
      <Terms xmlns="http://schemas.microsoft.com/office/infopath/2007/PartnerControls"/>
    </TaxKeywordTaxHTField>
    <MediaLengthInSeconds xmlns="210bef52-0b5c-44c7-af6e-0c8224974638" xsi:nil="true"/>
    <SharedWithUsers xmlns="24ac9f69-3c1b-43db-aedc-e8415cc2ca13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28617F9-21E9-4F58-99AC-801BFA2C0F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4E67FD-A01C-4944-A2E6-A8AE329392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0bef52-0b5c-44c7-af6e-0c8224974638"/>
    <ds:schemaRef ds:uri="24ac9f69-3c1b-43db-aedc-e8415cc2ca13"/>
    <ds:schemaRef ds:uri="528dc42b-a8a9-4871-b1aa-6145309612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BE4F910-FC98-4D08-AE51-41F6751F143C}">
  <ds:schemaRefs>
    <ds:schemaRef ds:uri="http://purl.org/dc/elements/1.1/"/>
    <ds:schemaRef ds:uri="http://schemas.microsoft.com/office/2006/metadata/properties"/>
    <ds:schemaRef ds:uri="24ac9f69-3c1b-43db-aedc-e8415cc2ca1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28dc42b-a8a9-4871-b1aa-61453096122c"/>
    <ds:schemaRef ds:uri="210bef52-0b5c-44c7-af6e-0c822497463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 Standard 16x9 White Template</Template>
  <TotalTime>2397</TotalTime>
  <Words>200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MetricHPE Light</vt:lpstr>
      <vt:lpstr>Arial</vt:lpstr>
      <vt:lpstr>MetricHPE</vt:lpstr>
      <vt:lpstr>HPE Standard 16x9 White Template</vt:lpstr>
      <vt:lpstr>1_HPE Standard 16x9 White Template</vt:lpstr>
      <vt:lpstr>2_HPE Standard 16x9 White Template</vt:lpstr>
      <vt:lpstr>3_HPE Standard 16x9 White Template</vt:lpstr>
      <vt:lpstr>4_HPE Standard 16x9 White Template</vt:lpstr>
      <vt:lpstr>think-cell Slide</vt:lpstr>
      <vt:lpstr>Accelerate and modernize  workload efficiency  with HPE ProLiant Gen11 with 4th Generation Intel Scalable Processor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sample title slide</dc:title>
  <dc:creator>Peter Petropoulakos</dc:creator>
  <cp:lastModifiedBy>Fisher, Andrew</cp:lastModifiedBy>
  <cp:revision>44</cp:revision>
  <dcterms:created xsi:type="dcterms:W3CDTF">2023-02-27T14:13:12Z</dcterms:created>
  <dcterms:modified xsi:type="dcterms:W3CDTF">2023-06-15T19:5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07F559FA4E9146AD2FCDCEA5395715</vt:lpwstr>
  </property>
  <property fmtid="{D5CDD505-2E9C-101B-9397-08002B2CF9AE}" pid="3" name="MediaServiceImageTags">
    <vt:lpwstr/>
  </property>
  <property fmtid="{D5CDD505-2E9C-101B-9397-08002B2CF9AE}" pid="4" name="TaxKeyword">
    <vt:lpwstr/>
  </property>
  <property fmtid="{D5CDD505-2E9C-101B-9397-08002B2CF9AE}" pid="5" name="xd_ProgID">
    <vt:lpwstr/>
  </property>
  <property fmtid="{D5CDD505-2E9C-101B-9397-08002B2CF9AE}" pid="6" name="_ColorHex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_ColorTag">
    <vt:lpwstr/>
  </property>
  <property fmtid="{D5CDD505-2E9C-101B-9397-08002B2CF9AE}" pid="11" name="TriggerFlowInfo">
    <vt:lpwstr/>
  </property>
  <property fmtid="{D5CDD505-2E9C-101B-9397-08002B2CF9AE}" pid="12" name="xd_Signature">
    <vt:lpwstr/>
  </property>
  <property fmtid="{D5CDD505-2E9C-101B-9397-08002B2CF9AE}" pid="13" name="_Emoji">
    <vt:lpwstr/>
  </property>
</Properties>
</file>